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13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118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7. 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869636"/>
              </p:ext>
            </p:extLst>
          </p:nvPr>
        </p:nvGraphicFramePr>
        <p:xfrm>
          <a:off x="376606" y="813855"/>
          <a:ext cx="11519385" cy="4817815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25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1021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863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oproti podzimu zklidnění situace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plánované operativy minimální, někde maximálně do 2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ost personálu v trendu , očekává se zvýše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vistos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 nákaz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OČR, nemocnost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5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á lůžková kapacita zlepšena – překlady mezi nemocnicemi (mimo ECMO) jen sporadicky při potřebě náročné 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 přetrvává ECMO kapacita dostatečná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mtClean="0"/>
              <a:t>Hodnocení situace v krajích od KKIP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2092665"/>
              </p:ext>
            </p:extLst>
          </p:nvPr>
        </p:nvGraphicFramePr>
        <p:xfrm>
          <a:off x="434413" y="847512"/>
          <a:ext cx="11435203" cy="5357055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126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772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malý pokles celkového počtu C19 hospitalizací, trvá vyšší zatížení intenzivní péče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ě C19 JIP zatěžují pacienti kde je COVID-19 vedlejší diagnóza náhodně zjištěná při léčbě jiné patologie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2233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2221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mezi 20-50%; přetrvává problém v intenzivní péči s velkým počtem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; problém v obla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nterních lůžek (značná část byla transformována n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é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9889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7.1.2022 00:31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302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85104"/>
              </p:ext>
            </p:extLst>
          </p:nvPr>
        </p:nvGraphicFramePr>
        <p:xfrm>
          <a:off x="260133" y="958364"/>
          <a:ext cx="9042129" cy="5366202"/>
        </p:xfrm>
        <a:graphic>
          <a:graphicData uri="http://schemas.openxmlformats.org/drawingml/2006/table">
            <a:tbl>
              <a:tblPr/>
              <a:tblGrid>
                <a:gridCol w="1919413">
                  <a:extLst>
                    <a:ext uri="{9D8B030D-6E8A-4147-A177-3AD203B41FA5}">
                      <a16:colId xmlns:a16="http://schemas.microsoft.com/office/drawing/2014/main" val="1148997822"/>
                    </a:ext>
                  </a:extLst>
                </a:gridCol>
                <a:gridCol w="1175150">
                  <a:extLst>
                    <a:ext uri="{9D8B030D-6E8A-4147-A177-3AD203B41FA5}">
                      <a16:colId xmlns:a16="http://schemas.microsoft.com/office/drawing/2014/main" val="3691676756"/>
                    </a:ext>
                  </a:extLst>
                </a:gridCol>
                <a:gridCol w="1087014">
                  <a:extLst>
                    <a:ext uri="{9D8B030D-6E8A-4147-A177-3AD203B41FA5}">
                      <a16:colId xmlns:a16="http://schemas.microsoft.com/office/drawing/2014/main" val="3963981067"/>
                    </a:ext>
                  </a:extLst>
                </a:gridCol>
                <a:gridCol w="1083750">
                  <a:extLst>
                    <a:ext uri="{9D8B030D-6E8A-4147-A177-3AD203B41FA5}">
                      <a16:colId xmlns:a16="http://schemas.microsoft.com/office/drawing/2014/main" val="2656826360"/>
                    </a:ext>
                  </a:extLst>
                </a:gridCol>
                <a:gridCol w="1122922">
                  <a:extLst>
                    <a:ext uri="{9D8B030D-6E8A-4147-A177-3AD203B41FA5}">
                      <a16:colId xmlns:a16="http://schemas.microsoft.com/office/drawing/2014/main" val="4179939438"/>
                    </a:ext>
                  </a:extLst>
                </a:gridCol>
                <a:gridCol w="1126185">
                  <a:extLst>
                    <a:ext uri="{9D8B030D-6E8A-4147-A177-3AD203B41FA5}">
                      <a16:colId xmlns:a16="http://schemas.microsoft.com/office/drawing/2014/main" val="2679743714"/>
                    </a:ext>
                  </a:extLst>
                </a:gridCol>
                <a:gridCol w="1527695">
                  <a:extLst>
                    <a:ext uri="{9D8B030D-6E8A-4147-A177-3AD203B41FA5}">
                      <a16:colId xmlns:a16="http://schemas.microsoft.com/office/drawing/2014/main" val="459088417"/>
                    </a:ext>
                  </a:extLst>
                </a:gridCol>
              </a:tblGrid>
              <a:tr h="18641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0118908"/>
                  </a:ext>
                </a:extLst>
              </a:tr>
              <a:tr h="186415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7.01. 2022, 11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9678994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8938267"/>
                  </a:ext>
                </a:extLst>
              </a:tr>
              <a:tr h="18641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1112657"/>
                  </a:ext>
                </a:extLst>
              </a:tr>
              <a:tr h="66251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8451732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234588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9581162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0640430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7507219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1513048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1250739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4392502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661835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4622314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833528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6909490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3991226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4324003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091801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245202"/>
                  </a:ext>
                </a:extLst>
              </a:tr>
              <a:tr h="186415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2225987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1665659"/>
                  </a:ext>
                </a:extLst>
              </a:tr>
              <a:tr h="1864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5820283"/>
                  </a:ext>
                </a:extLst>
              </a:tr>
              <a:tr h="186415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86008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2884976"/>
              </p:ext>
            </p:extLst>
          </p:nvPr>
        </p:nvGraphicFramePr>
        <p:xfrm>
          <a:off x="237392" y="975955"/>
          <a:ext cx="9311055" cy="5401458"/>
        </p:xfrm>
        <a:graphic>
          <a:graphicData uri="http://schemas.openxmlformats.org/drawingml/2006/table">
            <a:tbl>
              <a:tblPr/>
              <a:tblGrid>
                <a:gridCol w="1976499">
                  <a:extLst>
                    <a:ext uri="{9D8B030D-6E8A-4147-A177-3AD203B41FA5}">
                      <a16:colId xmlns:a16="http://schemas.microsoft.com/office/drawing/2014/main" val="3587106008"/>
                    </a:ext>
                  </a:extLst>
                </a:gridCol>
                <a:gridCol w="1210102">
                  <a:extLst>
                    <a:ext uri="{9D8B030D-6E8A-4147-A177-3AD203B41FA5}">
                      <a16:colId xmlns:a16="http://schemas.microsoft.com/office/drawing/2014/main" val="3138664794"/>
                    </a:ext>
                  </a:extLst>
                </a:gridCol>
                <a:gridCol w="1119344">
                  <a:extLst>
                    <a:ext uri="{9D8B030D-6E8A-4147-A177-3AD203B41FA5}">
                      <a16:colId xmlns:a16="http://schemas.microsoft.com/office/drawing/2014/main" val="2604998564"/>
                    </a:ext>
                  </a:extLst>
                </a:gridCol>
                <a:gridCol w="1115982">
                  <a:extLst>
                    <a:ext uri="{9D8B030D-6E8A-4147-A177-3AD203B41FA5}">
                      <a16:colId xmlns:a16="http://schemas.microsoft.com/office/drawing/2014/main" val="3066893055"/>
                    </a:ext>
                  </a:extLst>
                </a:gridCol>
                <a:gridCol w="1156318">
                  <a:extLst>
                    <a:ext uri="{9D8B030D-6E8A-4147-A177-3AD203B41FA5}">
                      <a16:colId xmlns:a16="http://schemas.microsoft.com/office/drawing/2014/main" val="2748994256"/>
                    </a:ext>
                  </a:extLst>
                </a:gridCol>
                <a:gridCol w="1159679">
                  <a:extLst>
                    <a:ext uri="{9D8B030D-6E8A-4147-A177-3AD203B41FA5}">
                      <a16:colId xmlns:a16="http://schemas.microsoft.com/office/drawing/2014/main" val="2054342062"/>
                    </a:ext>
                  </a:extLst>
                </a:gridCol>
                <a:gridCol w="1573131">
                  <a:extLst>
                    <a:ext uri="{9D8B030D-6E8A-4147-A177-3AD203B41FA5}">
                      <a16:colId xmlns:a16="http://schemas.microsoft.com/office/drawing/2014/main" val="3303961141"/>
                    </a:ext>
                  </a:extLst>
                </a:gridCol>
              </a:tblGrid>
              <a:tr h="192503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1874285"/>
                  </a:ext>
                </a:extLst>
              </a:tr>
              <a:tr h="193359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7.01. 2022, 11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744895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4380701"/>
                  </a:ext>
                </a:extLst>
              </a:tr>
              <a:tr h="1925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2729613"/>
                  </a:ext>
                </a:extLst>
              </a:tr>
              <a:tr h="69747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4866740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1877900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6457390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5549725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1361269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08975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573170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1370784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9503529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5166326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1032687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4175905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850361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9192018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3660657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0449368"/>
                  </a:ext>
                </a:extLst>
              </a:tr>
              <a:tr h="19250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1833313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8848795"/>
                  </a:ext>
                </a:extLst>
              </a:tr>
              <a:tr h="19250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1868009"/>
                  </a:ext>
                </a:extLst>
              </a:tr>
              <a:tr h="19250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812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7.1.2022 00:31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1 </a:t>
            </a:r>
            <a:r>
              <a:rPr lang="cs-CZ" sz="2000" b="1" dirty="0" smtClean="0"/>
              <a:t>203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0418946"/>
              </p:ext>
            </p:extLst>
          </p:nvPr>
        </p:nvGraphicFramePr>
        <p:xfrm>
          <a:off x="228601" y="964754"/>
          <a:ext cx="8493368" cy="5333932"/>
        </p:xfrm>
        <a:graphic>
          <a:graphicData uri="http://schemas.openxmlformats.org/drawingml/2006/table">
            <a:tbl>
              <a:tblPr/>
              <a:tblGrid>
                <a:gridCol w="1726271">
                  <a:extLst>
                    <a:ext uri="{9D8B030D-6E8A-4147-A177-3AD203B41FA5}">
                      <a16:colId xmlns:a16="http://schemas.microsoft.com/office/drawing/2014/main" val="3381647391"/>
                    </a:ext>
                  </a:extLst>
                </a:gridCol>
                <a:gridCol w="1056901">
                  <a:extLst>
                    <a:ext uri="{9D8B030D-6E8A-4147-A177-3AD203B41FA5}">
                      <a16:colId xmlns:a16="http://schemas.microsoft.com/office/drawing/2014/main" val="62855476"/>
                    </a:ext>
                  </a:extLst>
                </a:gridCol>
                <a:gridCol w="977632">
                  <a:extLst>
                    <a:ext uri="{9D8B030D-6E8A-4147-A177-3AD203B41FA5}">
                      <a16:colId xmlns:a16="http://schemas.microsoft.com/office/drawing/2014/main" val="46858328"/>
                    </a:ext>
                  </a:extLst>
                </a:gridCol>
                <a:gridCol w="974697">
                  <a:extLst>
                    <a:ext uri="{9D8B030D-6E8A-4147-A177-3AD203B41FA5}">
                      <a16:colId xmlns:a16="http://schemas.microsoft.com/office/drawing/2014/main" val="455172903"/>
                    </a:ext>
                  </a:extLst>
                </a:gridCol>
                <a:gridCol w="1009927">
                  <a:extLst>
                    <a:ext uri="{9D8B030D-6E8A-4147-A177-3AD203B41FA5}">
                      <a16:colId xmlns:a16="http://schemas.microsoft.com/office/drawing/2014/main" val="2309172629"/>
                    </a:ext>
                  </a:extLst>
                </a:gridCol>
                <a:gridCol w="1373970">
                  <a:extLst>
                    <a:ext uri="{9D8B030D-6E8A-4147-A177-3AD203B41FA5}">
                      <a16:colId xmlns:a16="http://schemas.microsoft.com/office/drawing/2014/main" val="1751191671"/>
                    </a:ext>
                  </a:extLst>
                </a:gridCol>
                <a:gridCol w="1373970">
                  <a:extLst>
                    <a:ext uri="{9D8B030D-6E8A-4147-A177-3AD203B41FA5}">
                      <a16:colId xmlns:a16="http://schemas.microsoft.com/office/drawing/2014/main" val="2634187745"/>
                    </a:ext>
                  </a:extLst>
                </a:gridCol>
              </a:tblGrid>
              <a:tr h="21266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4055448"/>
                  </a:ext>
                </a:extLst>
              </a:tr>
              <a:tr h="21266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7.01. 2022, 11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1754771"/>
                  </a:ext>
                </a:extLst>
              </a:tr>
              <a:tr h="18268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7131470"/>
                  </a:ext>
                </a:extLst>
              </a:tr>
              <a:tr h="2126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0041822"/>
                  </a:ext>
                </a:extLst>
              </a:tr>
              <a:tr h="57723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765286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208545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94334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869644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396240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530331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37774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126588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241695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7361198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138589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973820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07152"/>
                  </a:ext>
                </a:extLst>
              </a:tr>
              <a:tr h="18988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590391"/>
                  </a:ext>
                </a:extLst>
              </a:tr>
              <a:tr h="1974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2346084"/>
                  </a:ext>
                </a:extLst>
              </a:tr>
              <a:tr h="2050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9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5057076"/>
                  </a:ext>
                </a:extLst>
              </a:tr>
              <a:tr h="189881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1489785"/>
                  </a:ext>
                </a:extLst>
              </a:tr>
              <a:tr h="182685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8676259"/>
                  </a:ext>
                </a:extLst>
              </a:tr>
              <a:tr h="18268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6289622"/>
                  </a:ext>
                </a:extLst>
              </a:tr>
              <a:tr h="18988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x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099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7346098" y="5591833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.1.2022 12:0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376779" y="5591833"/>
            <a:ext cx="5232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2804567"/>
              </p:ext>
            </p:extLst>
          </p:nvPr>
        </p:nvGraphicFramePr>
        <p:xfrm>
          <a:off x="218517" y="1371672"/>
          <a:ext cx="5549237" cy="4132237"/>
        </p:xfrm>
        <a:graphic>
          <a:graphicData uri="http://schemas.openxmlformats.org/drawingml/2006/table">
            <a:tbl>
              <a:tblPr/>
              <a:tblGrid>
                <a:gridCol w="3462673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576140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510424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765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slední</a:t>
                      </a:r>
                      <a:r>
                        <a:rPr lang="cs-CZ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tualizace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3:3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rchlabí, s.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01.2022 11:4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arykova nemocnice Rakovník s.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01.2022 14:1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Jablonec nad Nisou, p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01.2022 15:2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dřipská nemocnice s pol. Roudnice n. L., s.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8:4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ísek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0:1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S PLUS s.r.o., Nemocnice Ostr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0:4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Příbram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1:1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kycanská nemoc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1:3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33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nemocnice u sv. Anny v Brně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2:0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0436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alašské Meziříčí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2:3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25755"/>
                  </a:ext>
                </a:extLst>
              </a:tr>
            </a:tbl>
          </a:graphicData>
        </a:graphic>
      </p:graphicFrame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510307"/>
              </p:ext>
            </p:extLst>
          </p:nvPr>
        </p:nvGraphicFramePr>
        <p:xfrm>
          <a:off x="5969980" y="1740877"/>
          <a:ext cx="5818869" cy="3763033"/>
        </p:xfrm>
        <a:graphic>
          <a:graphicData uri="http://schemas.openxmlformats.org/drawingml/2006/table">
            <a:tbl>
              <a:tblPr/>
              <a:tblGrid>
                <a:gridCol w="3630921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04133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583815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558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slední</a:t>
                      </a:r>
                      <a:r>
                        <a:rPr lang="cs-CZ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tualizace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19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2:4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19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Podlesí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4:0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19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yškov, příspěvková organiza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4:0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19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oměříž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4:2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19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Hra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4:4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19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TA, s.r.o., Městská nemocnice Duchc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16:1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19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ská nemocnice Liberec, a.s., Nemocnice Turn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.01.2022 20:5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19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01.2022 7:0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  <a:tr h="35192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01.2022 8:2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33504"/>
                  </a:ext>
                </a:extLst>
              </a:tr>
              <a:tr h="33986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dhor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01.2022 11:5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0436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855014"/>
              </p:ext>
            </p:extLst>
          </p:nvPr>
        </p:nvGraphicFramePr>
        <p:xfrm>
          <a:off x="1522023" y="1993495"/>
          <a:ext cx="8652072" cy="3118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389221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17.1.2022 0:31 h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1 505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365132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923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1,1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0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33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,3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02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72,2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396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6,4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203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53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10,2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726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0,3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467766"/>
              </p:ext>
            </p:extLst>
          </p:nvPr>
        </p:nvGraphicFramePr>
        <p:xfrm>
          <a:off x="803513" y="1322691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17.1.202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,9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741967" y="3077334"/>
            <a:ext cx="1095370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e 16.1. bylo 49 nově přijatých C+ pacientů a 27 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 v ČR, nižší počty příjmů C+ pac, ve všech krajích obnovena elektivní operativa s omezením do 20 % nebo méně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tále zatížení IP long-COVID pacienty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lvl="1">
              <a:defRPr/>
            </a:pPr>
            <a:endParaRPr lang="cs-CZ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 startAt="4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P – long-</a:t>
            </a:r>
            <a:r>
              <a:rPr lang="cs-CZ" dirty="0" err="1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cienti k 17.1.2022 -&gt; 85 celkem, z toho 48 pac na JIP, 38 pac na UPV/ECMO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454642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čtvrtý týden stoupá a zároveň výrazně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7711300"/>
              </p:ext>
            </p:extLst>
          </p:nvPr>
        </p:nvGraphicFramePr>
        <p:xfrm>
          <a:off x="332646" y="832093"/>
          <a:ext cx="11405086" cy="5065288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1854723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145323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bilní situace. Pokles akutně přijíman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kapacity obsazeny již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kovidovaný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emocnými stále vyžadujícími IP, kteří udržují vysok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IP/ARO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5724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částečně uvolněn, onkologická aj. neodkladná operativa zcela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ůžka pro COVID+ s dostatečnou kapacitou, spíše nižší počet příjmů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 úkor elektivní péče dále udržována navýšená kapacita standardní i IP péče pro C+ pacienty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975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vyšování elektivní činnosti, část pracovišť zakonzervován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564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006327"/>
              </p:ext>
            </p:extLst>
          </p:nvPr>
        </p:nvGraphicFramePr>
        <p:xfrm>
          <a:off x="288084" y="735512"/>
          <a:ext cx="11587543" cy="5735517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677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2695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Částečné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acienty v intenzivní a standardní péči,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ndový pokles počt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 intenzivní 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30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navyšování elektivní operativy, část pracovišť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b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řipravenost k event. změně zpět do „COVID“ režimu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šší nemocnost personálu, ale zatím toto není limitací k poskytování péče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54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-7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 a je vysoký tlak na následnou péči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še al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rsonál je i tak již za hranou svých možností a kapacit a převádí již druhým rokem strašlivá kvanta dovolené a osobního volna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5162</TotalTime>
  <Words>2051</Words>
  <Application>Microsoft Office PowerPoint</Application>
  <PresentationFormat>Širokoúhlá obrazovka</PresentationFormat>
  <Paragraphs>603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900</cp:revision>
  <cp:lastPrinted>2020-10-20T04:21:56Z</cp:lastPrinted>
  <dcterms:created xsi:type="dcterms:W3CDTF">2020-07-15T10:33:32Z</dcterms:created>
  <dcterms:modified xsi:type="dcterms:W3CDTF">2022-01-17T11:05:36Z</dcterms:modified>
</cp:coreProperties>
</file>